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657" r:id="rId8"/>
    <p:sldId id="696" r:id="rId9"/>
    <p:sldId id="71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696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FF9833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65" d="100"/>
          <a:sy n="65" d="100"/>
        </p:scale>
        <p:origin x="73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8-Sep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8-Sep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42257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8-Sep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8/09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8-Sep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Machine Learn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19545"/>
            <a:ext cx="12125649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Scikit-learn module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8" y="188603"/>
            <a:ext cx="93755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Scikit-learn module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87BC38-57BB-44EC-B90C-540F413EE7FB}"/>
              </a:ext>
            </a:extLst>
          </p:cNvPr>
          <p:cNvSpPr txBox="1"/>
          <p:nvPr/>
        </p:nvSpPr>
        <p:spPr>
          <a:xfrm>
            <a:off x="210938" y="1950807"/>
            <a:ext cx="11587772" cy="39035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solidFill>
                  <a:srgbClr val="333333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cikit-learn is a library in Python that provides many supervised learning and unsupervised algorithms. It is built upon some of the packages you already familiar with, like NumPy, Pandas, and Matplotlib. With Scikit-learn module, you can train different machine learning models such as regression and classification and check their performance using any of the metrics discussed in unit 2.</a:t>
            </a: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8" y="188603"/>
            <a:ext cx="93755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Scikit-learn module</a:t>
            </a:r>
            <a:endParaRPr lang="en-US"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87BC38-57BB-44EC-B90C-540F413EE7FB}"/>
              </a:ext>
            </a:extLst>
          </p:cNvPr>
          <p:cNvSpPr txBox="1"/>
          <p:nvPr/>
        </p:nvSpPr>
        <p:spPr>
          <a:xfrm>
            <a:off x="210938" y="1062398"/>
            <a:ext cx="11587772" cy="5057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functionality that scikit-learn provides include: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eprocessing 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gression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lassification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lustering</a:t>
            </a:r>
          </a:p>
          <a:p>
            <a:pPr marL="457200" marR="0" indent="-4572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Model selection</a:t>
            </a:r>
          </a:p>
        </p:txBody>
      </p:sp>
    </p:spTree>
    <p:extLst>
      <p:ext uri="{BB962C8B-B14F-4D97-AF65-F5344CB8AC3E}">
        <p14:creationId xmlns:p14="http://schemas.microsoft.com/office/powerpoint/2010/main" val="200130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78" y="1229531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4D5A8154-AF86-40D8-A7A0-D7ED8EBD8866}"/>
              </a:ext>
            </a:extLst>
          </p:cNvPr>
          <p:cNvSpPr/>
          <p:nvPr/>
        </p:nvSpPr>
        <p:spPr>
          <a:xfrm>
            <a:off x="9622833" y="2792265"/>
            <a:ext cx="2569167" cy="164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400" b="1" dirty="0"/>
              <a:t>Open machine learning classification</a:t>
            </a:r>
          </a:p>
          <a:p>
            <a:pPr>
              <a:spcBef>
                <a:spcPts val="200"/>
              </a:spcBef>
            </a:pPr>
            <a:r>
              <a:rPr lang="en-US" sz="2400" b="1" dirty="0"/>
              <a:t>Jupyter Notebook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4</TotalTime>
  <Words>100</Words>
  <Application>Microsoft Office PowerPoint</Application>
  <PresentationFormat>Widescreen</PresentationFormat>
  <Paragraphs>14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Wingdings</vt:lpstr>
      <vt:lpstr>1_Office Theme</vt:lpstr>
      <vt:lpstr>2_Office Theme</vt:lpstr>
      <vt:lpstr>think-cell Slide</vt:lpstr>
      <vt:lpstr>Introduction to Machine Learning</vt:lpstr>
      <vt:lpstr>Scikit-learn modul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61</cp:revision>
  <dcterms:created xsi:type="dcterms:W3CDTF">2020-03-16T19:15:12Z</dcterms:created>
  <dcterms:modified xsi:type="dcterms:W3CDTF">2021-09-08T18:4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